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9" r:id="rId1"/>
  </p:sldMasterIdLst>
  <p:notesMasterIdLst>
    <p:notesMasterId r:id="rId6"/>
  </p:notesMasterIdLst>
  <p:sldIdLst>
    <p:sldId id="256" r:id="rId2"/>
    <p:sldId id="257" r:id="rId3"/>
    <p:sldId id="258" r:id="rId4"/>
    <p:sldId id="259" r:id="rId5"/>
  </p:sldIdLst>
  <p:sldSz cx="9144000" cy="5143500" type="screen16x9"/>
  <p:notesSz cx="6858000" cy="9144000"/>
  <p:embeddedFontLst>
    <p:embeddedFont>
      <p:font typeface="Arial Black" panose="020B0A04020102020204" pitchFamily="34" charset="0"/>
      <p:regular r:id="rId7"/>
      <p:bold r:id="rId8"/>
    </p:embeddedFont>
  </p:embeddedFontLst>
  <p:custDataLst>
    <p:tags r:id="rId9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F0963B-36B1-4122-B63F-D900D97644EC}">
  <a:tblStyle styleId="{69F0963B-36B1-4122-B63F-D900D97644EC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35" d="100"/>
          <a:sy n="135" d="100"/>
        </p:scale>
        <p:origin x="846" y="108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font" Target="fonts/font1.fntdata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Google Shape;5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g1130bd74489_0_5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" name="Google Shape;59;g1130bd74489_0_5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1130bd74489_0_6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1130bd74489_0_6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g1130bd74489_0_6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1" name="Google Shape;71;g1130bd74489_0_6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4572000" y="25"/>
            <a:ext cx="4572000" cy="51435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4939500" y="724200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>
                <a:solidFill>
                  <a:schemeClr val="dk1"/>
                </a:solidFill>
              </a:defRPr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○"/>
              <a:defRPr>
                <a:solidFill>
                  <a:schemeClr val="dk1"/>
                </a:solidFill>
              </a:defRPr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■"/>
              <a:defRPr>
                <a:solidFill>
                  <a:schemeClr val="dk1"/>
                </a:solidFill>
              </a:defRPr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●"/>
              <a:defRPr>
                <a:solidFill>
                  <a:schemeClr val="dk1"/>
                </a:solidFill>
              </a:defRPr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○"/>
              <a:defRPr>
                <a:solidFill>
                  <a:schemeClr val="dk1"/>
                </a:solidFill>
              </a:defRPr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■"/>
              <a:defRPr>
                <a:solidFill>
                  <a:schemeClr val="dk1"/>
                </a:solidFill>
              </a:defRPr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●"/>
              <a:defRPr>
                <a:solidFill>
                  <a:schemeClr val="dk1"/>
                </a:solidFill>
              </a:defRPr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○"/>
              <a:defRPr>
                <a:solidFill>
                  <a:schemeClr val="dk1"/>
                </a:solidFill>
              </a:defRPr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■"/>
              <a:defRPr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dark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03FE4FE-ED90-42FD-9E1E-BA2864C66B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84667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5" imgW="592" imgH="595" progId="TCLayout.ActiveDocument.1">
                  <p:embed/>
                </p:oleObj>
              </mc:Choice>
              <mc:Fallback>
                <p:oleObj name="think-cell Slide" r:id="rId1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800"/>
              <a:buChar char="●"/>
              <a:defRPr sz="1800">
                <a:solidFill>
                  <a:schemeClr val="lt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Char char="○"/>
              <a:defRPr>
                <a:solidFill>
                  <a:schemeClr val="lt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Char char="■"/>
              <a:defRPr>
                <a:solidFill>
                  <a:schemeClr val="lt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Char char="●"/>
              <a:defRPr>
                <a:solidFill>
                  <a:schemeClr val="lt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Char char="○"/>
              <a:defRPr>
                <a:solidFill>
                  <a:schemeClr val="lt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Char char="■"/>
              <a:defRPr>
                <a:solidFill>
                  <a:schemeClr val="lt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Char char="●"/>
              <a:defRPr>
                <a:solidFill>
                  <a:schemeClr val="lt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Char char="○"/>
              <a:defRPr>
                <a:solidFill>
                  <a:schemeClr val="lt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Char char="■"/>
              <a:defRPr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r">
              <a:buNone/>
              <a:defRPr sz="1000">
                <a:solidFill>
                  <a:schemeClr val="lt2"/>
                </a:solidFill>
              </a:defRPr>
            </a:lvl1pPr>
            <a:lvl2pPr lvl="1" algn="r">
              <a:buNone/>
              <a:defRPr sz="1000">
                <a:solidFill>
                  <a:schemeClr val="lt2"/>
                </a:solidFill>
              </a:defRPr>
            </a:lvl2pPr>
            <a:lvl3pPr lvl="2" algn="r">
              <a:buNone/>
              <a:defRPr sz="1000">
                <a:solidFill>
                  <a:schemeClr val="lt2"/>
                </a:solidFill>
              </a:defRPr>
            </a:lvl3pPr>
            <a:lvl4pPr lvl="3" algn="r">
              <a:buNone/>
              <a:defRPr sz="1000">
                <a:solidFill>
                  <a:schemeClr val="lt2"/>
                </a:solidFill>
              </a:defRPr>
            </a:lvl4pPr>
            <a:lvl5pPr lvl="4" algn="r">
              <a:buNone/>
              <a:defRPr sz="1000">
                <a:solidFill>
                  <a:schemeClr val="lt2"/>
                </a:solidFill>
              </a:defRPr>
            </a:lvl5pPr>
            <a:lvl6pPr lvl="5" algn="r">
              <a:buNone/>
              <a:defRPr sz="1000">
                <a:solidFill>
                  <a:schemeClr val="lt2"/>
                </a:solidFill>
              </a:defRPr>
            </a:lvl6pPr>
            <a:lvl7pPr lvl="6" algn="r">
              <a:buNone/>
              <a:defRPr sz="1000">
                <a:solidFill>
                  <a:schemeClr val="lt2"/>
                </a:solidFill>
              </a:defRPr>
            </a:lvl7pPr>
            <a:lvl8pPr lvl="7" algn="r">
              <a:buNone/>
              <a:defRPr sz="1000">
                <a:solidFill>
                  <a:schemeClr val="lt2"/>
                </a:solidFill>
              </a:defRPr>
            </a:lvl8pPr>
            <a:lvl9pPr lvl="8" algn="r">
              <a:buNone/>
              <a:defRPr sz="1000">
                <a:solidFill>
                  <a:schemeClr val="lt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3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Industry Connects Submission</a:t>
            </a:r>
            <a:endParaRPr/>
          </a:p>
        </p:txBody>
      </p:sp>
      <p:sp>
        <p:nvSpPr>
          <p:cNvPr id="55" name="Google Shape;55;p13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App Creators - Project 1.8</a:t>
            </a:r>
            <a:endParaRPr/>
          </a:p>
        </p:txBody>
      </p:sp>
      <p:sp>
        <p:nvSpPr>
          <p:cNvPr id="56" name="Google Shape;56;p13"/>
          <p:cNvSpPr txBox="1"/>
          <p:nvPr/>
        </p:nvSpPr>
        <p:spPr>
          <a:xfrm>
            <a:off x="1835425" y="3817925"/>
            <a:ext cx="51435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>
                <a:solidFill>
                  <a:schemeClr val="accent6"/>
                </a:solidFill>
              </a:rPr>
              <a:t>Student names</a:t>
            </a:r>
            <a:endParaRPr>
              <a:solidFill>
                <a:schemeClr val="accent6"/>
              </a:solidFill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p1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How we programmed it</a:t>
            </a:r>
            <a:endParaRPr/>
          </a:p>
        </p:txBody>
      </p:sp>
      <p:graphicFrame>
        <p:nvGraphicFramePr>
          <p:cNvPr id="62" name="Google Shape;62;p14"/>
          <p:cNvGraphicFramePr/>
          <p:nvPr/>
        </p:nvGraphicFramePr>
        <p:xfrm>
          <a:off x="493425" y="1078338"/>
          <a:ext cx="3000000" cy="3000000"/>
        </p:xfrm>
        <a:graphic>
          <a:graphicData uri="http://schemas.openxmlformats.org/drawingml/2006/table">
            <a:tbl>
              <a:tblPr>
                <a:noFill/>
                <a:tableStyleId>{69F0963B-36B1-4122-B63F-D900D97644EC}</a:tableStyleId>
              </a:tblPr>
              <a:tblGrid>
                <a:gridCol w="31701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79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962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rgbClr val="FFFFFF"/>
                          </a:solidFill>
                          <a:latin typeface="Arial Black"/>
                          <a:ea typeface="Arial Black"/>
                          <a:cs typeface="Arial Black"/>
                          <a:sym typeface="Arial Black"/>
                        </a:rPr>
                        <a:t>Feature</a:t>
                      </a:r>
                      <a:endParaRPr>
                        <a:solidFill>
                          <a:srgbClr val="FFFFFF"/>
                        </a:solidFill>
                        <a:latin typeface="Arial Black"/>
                        <a:ea typeface="Arial Black"/>
                        <a:cs typeface="Arial Black"/>
                        <a:sym typeface="Arial Black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rgbClr val="FFFFFF"/>
                          </a:solidFill>
                          <a:latin typeface="Arial Black"/>
                          <a:ea typeface="Arial Black"/>
                          <a:cs typeface="Arial Black"/>
                          <a:sym typeface="Arial Black"/>
                        </a:rPr>
                        <a:t>How we made it happen</a:t>
                      </a:r>
                      <a:endParaRPr>
                        <a:solidFill>
                          <a:srgbClr val="FFFFFF"/>
                        </a:solidFill>
                        <a:latin typeface="Arial Black"/>
                        <a:ea typeface="Arial Black"/>
                        <a:cs typeface="Arial Black"/>
                        <a:sym typeface="Arial Black"/>
                      </a:endParaRPr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62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rgbClr val="FFFFFF"/>
                          </a:solidFill>
                        </a:rPr>
                        <a:t>Drag a body system with finger</a:t>
                      </a:r>
                      <a:endParaRPr>
                        <a:solidFill>
                          <a:srgbClr val="FFFFFF"/>
                        </a:solidFill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>
                        <a:solidFill>
                          <a:srgbClr val="FFFFFF"/>
                        </a:solidFill>
                      </a:endParaRPr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62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rgbClr val="FFFFFF"/>
                          </a:solidFill>
                        </a:rPr>
                        <a:t>If dropped in the wrong place, system returns to starting position</a:t>
                      </a:r>
                      <a:endParaRPr>
                        <a:solidFill>
                          <a:srgbClr val="FFFFFF"/>
                        </a:solidFill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>
                        <a:solidFill>
                          <a:srgbClr val="FFFFFF"/>
                        </a:solidFill>
                      </a:endParaRPr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62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rgbClr val="FFFFFF"/>
                          </a:solidFill>
                        </a:rPr>
                        <a:t>When dropped in the correct position, system locks in place and user scores one point</a:t>
                      </a:r>
                      <a:endParaRPr>
                        <a:solidFill>
                          <a:srgbClr val="FFFFFF"/>
                        </a:solidFill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>
                        <a:solidFill>
                          <a:srgbClr val="FFFFFF"/>
                        </a:solidFill>
                      </a:endParaRPr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62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rgbClr val="FFFFFF"/>
                          </a:solidFill>
                        </a:rPr>
                        <a:t>RESET returns systems to starting positions and score to zero.</a:t>
                      </a:r>
                      <a:endParaRPr>
                        <a:solidFill>
                          <a:srgbClr val="FFFFFF"/>
                        </a:solidFill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>
                        <a:solidFill>
                          <a:srgbClr val="FFFFFF"/>
                        </a:solidFill>
                      </a:endParaRPr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62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>
                          <a:solidFill>
                            <a:schemeClr val="dk1"/>
                          </a:solidFill>
                        </a:rPr>
                        <a:t>At least one additional feature from list of requirements:</a:t>
                      </a:r>
                      <a:endParaRPr>
                        <a:solidFill>
                          <a:schemeClr val="dk1"/>
                        </a:solidFill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>
                        <a:solidFill>
                          <a:srgbClr val="FFFFFF"/>
                        </a:solidFill>
                      </a:endParaRPr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962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>
                        <a:solidFill>
                          <a:srgbClr val="FFFFFF"/>
                        </a:solidFill>
                      </a:endParaRPr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Reflections</a:t>
            </a:r>
            <a:endParaRPr/>
          </a:p>
        </p:txBody>
      </p:sp>
      <p:sp>
        <p:nvSpPr>
          <p:cNvPr id="68" name="Google Shape;68;p1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What did you do first in building this app?</a:t>
            </a:r>
            <a:endParaRPr/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en"/>
              <a:t>What features were more difficult to build?</a:t>
            </a:r>
            <a:endParaRPr/>
          </a:p>
          <a:p>
            <a:pPr marL="0" lvl="0" indent="0" algn="l" rtl="0">
              <a:spcBef>
                <a:spcPts val="1200"/>
              </a:spcBef>
              <a:spcAft>
                <a:spcPts val="1200"/>
              </a:spcAft>
              <a:buNone/>
            </a:pPr>
            <a:r>
              <a:rPr lang="en"/>
              <a:t>What did you do if one thing you tried did not work?</a:t>
            </a:r>
            <a:endParaRPr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3A363D5-5608-4EBB-9B97-38B6EDDE70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83533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Google Shape;73;p1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Screenshot of completed design and code blocks</a:t>
            </a:r>
            <a:br>
              <a:rPr lang="en" dirty="0"/>
            </a:br>
            <a:r>
              <a:rPr lang="en" dirty="0"/>
              <a:t>Link to .aia file: __________________________</a:t>
            </a:r>
            <a:endParaRPr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 Dark">
  <a:themeElements>
    <a:clrScheme name="Simple Dark">
      <a:dk1>
        <a:srgbClr val="FFFFFF"/>
      </a:dk1>
      <a:lt1>
        <a:srgbClr val="212121"/>
      </a:lt1>
      <a:dk2>
        <a:srgbClr val="303030"/>
      </a:dk2>
      <a:lt2>
        <a:srgbClr val="ADADAD"/>
      </a:lt2>
      <a:accent1>
        <a:srgbClr val="009688"/>
      </a:accent1>
      <a:accent2>
        <a:srgbClr val="EEEEEE"/>
      </a:accent2>
      <a:accent3>
        <a:srgbClr val="78909C"/>
      </a:accent3>
      <a:accent4>
        <a:srgbClr val="FFAB40"/>
      </a:accent4>
      <a:accent5>
        <a:srgbClr val="4DD0E1"/>
      </a:accent5>
      <a:accent6>
        <a:srgbClr val="EEFF41"/>
      </a:accent6>
      <a:hlink>
        <a:srgbClr val="4DD0E1"/>
      </a:hlink>
      <a:folHlink>
        <a:srgbClr val="4DD0E1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2</Words>
  <Application>Microsoft Office PowerPoint</Application>
  <PresentationFormat>On-screen Show (16:9)</PresentationFormat>
  <Paragraphs>16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8" baseType="lpstr">
      <vt:lpstr>Arial</vt:lpstr>
      <vt:lpstr>Arial Black</vt:lpstr>
      <vt:lpstr>Simple Dark</vt:lpstr>
      <vt:lpstr>think-cell Slide</vt:lpstr>
      <vt:lpstr>Industry Connects Submission</vt:lpstr>
      <vt:lpstr>How we programmed it</vt:lpstr>
      <vt:lpstr>Reflections</vt:lpstr>
      <vt:lpstr>Screenshot of completed design and code blocks Link to .aia file: __________________________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dustry Connects Submission</dc:title>
  <cp:lastModifiedBy>Claire Sullivan</cp:lastModifiedBy>
  <cp:revision>1</cp:revision>
  <dcterms:modified xsi:type="dcterms:W3CDTF">2022-02-28T15:31:25Z</dcterms:modified>
</cp:coreProperties>
</file>